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302" r:id="rId5"/>
    <p:sldId id="281" r:id="rId6"/>
    <p:sldId id="294" r:id="rId7"/>
    <p:sldId id="304" r:id="rId8"/>
    <p:sldId id="328" r:id="rId9"/>
    <p:sldId id="301" r:id="rId10"/>
    <p:sldId id="317" r:id="rId11"/>
    <p:sldId id="316" r:id="rId12"/>
    <p:sldId id="318" r:id="rId13"/>
    <p:sldId id="308" r:id="rId14"/>
    <p:sldId id="319" r:id="rId15"/>
    <p:sldId id="303" r:id="rId16"/>
    <p:sldId id="320" r:id="rId17"/>
    <p:sldId id="321" r:id="rId18"/>
    <p:sldId id="310" r:id="rId19"/>
    <p:sldId id="324" r:id="rId20"/>
    <p:sldId id="325" r:id="rId21"/>
    <p:sldId id="330" r:id="rId22"/>
    <p:sldId id="326" r:id="rId23"/>
    <p:sldId id="329" r:id="rId24"/>
    <p:sldId id="331" r:id="rId25"/>
    <p:sldId id="298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304C"/>
    <a:srgbClr val="194093"/>
    <a:srgbClr val="A13E50"/>
    <a:srgbClr val="6E8A95"/>
    <a:srgbClr val="DCB534"/>
    <a:srgbClr val="053F9D"/>
    <a:srgbClr val="6BAFC5"/>
    <a:srgbClr val="7BB4CB"/>
    <a:srgbClr val="6190A0"/>
    <a:srgbClr val="173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3" autoAdjust="0"/>
    <p:restoredTop sz="70550" autoAdjust="0"/>
  </p:normalViewPr>
  <p:slideViewPr>
    <p:cSldViewPr snapToGrid="0">
      <p:cViewPr varScale="1">
        <p:scale>
          <a:sx n="73" d="100"/>
          <a:sy n="73" d="100"/>
        </p:scale>
        <p:origin x="2048" y="184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814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3939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263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1871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6937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18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822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93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3273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231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12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3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77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tion and Pollution: Higher population densities tend to increase levels of nitrogen oxides and particulate matter.</a:t>
            </a:r>
          </a:p>
          <a:p>
            <a:r>
              <a:rPr lang="en-US" dirty="0"/>
              <a:t>Ozone Behavior: Ozone levels often decrease when other pollutants increase, indicating complex chemical interactions.</a:t>
            </a:r>
          </a:p>
          <a:p>
            <a:r>
              <a:rPr lang="en-US" dirty="0"/>
              <a:t>Seasonal Impact: The relationship between population and pollutants varies slightly with the seasons, showing how weather and activities influence air qua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6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2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65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– Local (Australia)</a:t>
            </a:r>
          </a:p>
        </p:txBody>
      </p:sp>
      <p:pic>
        <p:nvPicPr>
          <p:cNvPr id="6" name="Picture 5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14DC4283-E67A-48B7-A137-B587385FB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376" y="489900"/>
            <a:ext cx="8903062" cy="5564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7E685A-184B-9D00-6BC0-157431EBA0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445" y="-1"/>
            <a:ext cx="2370675" cy="617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68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solidFill>
                  <a:srgbClr val="5B5B5B"/>
                </a:solidFill>
              </a:rPr>
              <a:t>Globally 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28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BFFAFE-841A-0392-EF72-B5D30DD860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002" y="408193"/>
            <a:ext cx="7582322" cy="565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24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011222B-C5B3-CABD-8710-16414A6A1E5F}"/>
              </a:ext>
            </a:extLst>
          </p:cNvPr>
          <p:cNvSpPr/>
          <p:nvPr/>
        </p:nvSpPr>
        <p:spPr>
          <a:xfrm>
            <a:off x="6128426" y="473413"/>
            <a:ext cx="0" cy="5693923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E80E16-AAD7-7480-4E0B-6A0EB3A43A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0344" b="50059"/>
          <a:stretch/>
        </p:blipFill>
        <p:spPr>
          <a:xfrm>
            <a:off x="6640276" y="518706"/>
            <a:ext cx="3560518" cy="24306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56C3B93-B65D-8036-CED9-B74E7799B4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059" r="50508"/>
          <a:stretch/>
        </p:blipFill>
        <p:spPr>
          <a:xfrm>
            <a:off x="1921756" y="548989"/>
            <a:ext cx="3605262" cy="2469402"/>
          </a:xfrm>
          <a:prstGeom prst="rect">
            <a:avLst/>
          </a:prstGeom>
        </p:spPr>
      </p:pic>
      <p:pic>
        <p:nvPicPr>
          <p:cNvPr id="16" name="Picture 15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2380CEB2-274D-2F19-CE20-BAFB21B6D87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40" r="50102"/>
          <a:stretch/>
        </p:blipFill>
        <p:spPr>
          <a:xfrm>
            <a:off x="-1" y="3087389"/>
            <a:ext cx="1050588" cy="3087391"/>
          </a:xfrm>
          <a:prstGeom prst="rect">
            <a:avLst/>
          </a:prstGeom>
        </p:spPr>
      </p:pic>
      <p:pic>
        <p:nvPicPr>
          <p:cNvPr id="17" name="Picture 16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5CFD9BFE-ABFE-B2AF-CCD1-B51DBE0020C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942"/>
          <a:stretch/>
        </p:blipFill>
        <p:spPr>
          <a:xfrm>
            <a:off x="0" y="-1"/>
            <a:ext cx="1050587" cy="3087391"/>
          </a:xfrm>
          <a:prstGeom prst="rect">
            <a:avLst/>
          </a:prstGeom>
        </p:spPr>
      </p:pic>
      <p:pic>
        <p:nvPicPr>
          <p:cNvPr id="19" name="Picture 18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680D627E-2E61-672F-71CB-5688D93B540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02" r="24651"/>
          <a:stretch/>
        </p:blipFill>
        <p:spPr>
          <a:xfrm>
            <a:off x="11141411" y="3087389"/>
            <a:ext cx="1050587" cy="3087391"/>
          </a:xfrm>
          <a:prstGeom prst="rect">
            <a:avLst/>
          </a:prstGeom>
        </p:spPr>
      </p:pic>
      <p:pic>
        <p:nvPicPr>
          <p:cNvPr id="20" name="Picture 19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859D43E1-FB72-C95C-9F3B-20F70015C34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2"/>
          <a:stretch/>
        </p:blipFill>
        <p:spPr>
          <a:xfrm>
            <a:off x="11141412" y="-1"/>
            <a:ext cx="1050587" cy="30873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4CC750-0E76-13A4-CC0D-3180B52428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207" t="50059"/>
          <a:stretch/>
        </p:blipFill>
        <p:spPr>
          <a:xfrm>
            <a:off x="1846510" y="3622952"/>
            <a:ext cx="3717711" cy="25310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19EB287-6B0E-ED21-9CDC-5466BF573E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823" b="50059"/>
          <a:stretch/>
        </p:blipFill>
        <p:spPr>
          <a:xfrm>
            <a:off x="6657622" y="3641183"/>
            <a:ext cx="3536326" cy="238914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A432D4B-9F49-DA93-7798-1F86019E6F87}"/>
              </a:ext>
            </a:extLst>
          </p:cNvPr>
          <p:cNvSpPr/>
          <p:nvPr/>
        </p:nvSpPr>
        <p:spPr>
          <a:xfrm>
            <a:off x="1050587" y="3088588"/>
            <a:ext cx="5083331" cy="482048"/>
          </a:xfrm>
          <a:prstGeom prst="rect">
            <a:avLst/>
          </a:prstGeom>
          <a:gradFill flip="none" rotWithShape="1">
            <a:gsLst>
              <a:gs pos="0">
                <a:srgbClr val="415A19">
                  <a:shade val="30000"/>
                  <a:satMod val="115000"/>
                </a:srgbClr>
              </a:gs>
              <a:gs pos="50000">
                <a:srgbClr val="415A19">
                  <a:shade val="67500"/>
                  <a:satMod val="115000"/>
                </a:srgbClr>
              </a:gs>
              <a:gs pos="100000">
                <a:srgbClr val="8C6C2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mm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CE64AB-BA95-D643-5800-6B6A3798FCBA}"/>
              </a:ext>
            </a:extLst>
          </p:cNvPr>
          <p:cNvSpPr/>
          <p:nvPr/>
        </p:nvSpPr>
        <p:spPr>
          <a:xfrm>
            <a:off x="1050587" y="0"/>
            <a:ext cx="5083336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95483A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um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4165BC-AE49-9987-512C-26611954DDCA}"/>
              </a:ext>
            </a:extLst>
          </p:cNvPr>
          <p:cNvSpPr/>
          <p:nvPr/>
        </p:nvSpPr>
        <p:spPr>
          <a:xfrm>
            <a:off x="6133923" y="-2510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6190A0"/>
              </a:gs>
              <a:gs pos="100000">
                <a:srgbClr val="7BB4C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nt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A617B5D-0EEF-2DA9-4B3D-91DEEA59C7AF}"/>
              </a:ext>
            </a:extLst>
          </p:cNvPr>
          <p:cNvSpPr/>
          <p:nvPr/>
        </p:nvSpPr>
        <p:spPr>
          <a:xfrm>
            <a:off x="6133921" y="3088763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6BAFC5"/>
              </a:gs>
              <a:gs pos="50000">
                <a:srgbClr val="6190A0"/>
              </a:gs>
              <a:gs pos="100000">
                <a:srgbClr val="DCB53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ring</a:t>
            </a:r>
          </a:p>
        </p:txBody>
      </p:sp>
    </p:spTree>
    <p:extLst>
      <p:ext uri="{BB962C8B-B14F-4D97-AF65-F5344CB8AC3E}">
        <p14:creationId xmlns:p14="http://schemas.microsoft.com/office/powerpoint/2010/main" val="24817501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331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C427F3-1757-4697-EAFC-FCD1143EB6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614" y="305054"/>
            <a:ext cx="10468772" cy="5818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78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29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BDD8E0-90C7-84CC-95A8-E660612B1D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7459" y="0"/>
            <a:ext cx="2434542" cy="6255420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9991BC-F866-B416-E7A8-6EA4A3FC75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005"/>
          <a:stretch/>
        </p:blipFill>
        <p:spPr>
          <a:xfrm>
            <a:off x="0" y="159722"/>
            <a:ext cx="9477451" cy="5968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6747DD-CA32-02CC-EF34-D4942A730968}"/>
              </a:ext>
            </a:extLst>
          </p:cNvPr>
          <p:cNvSpPr txBox="1"/>
          <p:nvPr/>
        </p:nvSpPr>
        <p:spPr>
          <a:xfrm>
            <a:off x="5505118" y="810541"/>
            <a:ext cx="3793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Correlation Coefficient: -0.26</a:t>
            </a:r>
          </a:p>
        </p:txBody>
      </p:sp>
    </p:spTree>
    <p:extLst>
      <p:ext uri="{BB962C8B-B14F-4D97-AF65-F5344CB8AC3E}">
        <p14:creationId xmlns:p14="http://schemas.microsoft.com/office/powerpoint/2010/main" val="4258922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CB4119-2B38-3A9B-8CEF-AC0B09EF6DC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631CB8-10A5-04A7-0EB4-7A8FF0F0E6D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E6C037-EB74-1198-C8CF-150A35B326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>
                <a:solidFill>
                  <a:srgbClr val="5B5B5B"/>
                </a:solidFill>
              </a:rPr>
              <a:t>Which air pollutant has the most significant correlation to respiratory deaths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FAAF4F-3F63-D64D-C9AC-E5A0C07A96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946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64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252A7AD-3F3F-219D-FA4B-6A2991C7B3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2650603" cy="6794073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BDCBCBF3-F144-E871-F31D-03A64830022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5989" r="8500" b="228"/>
          <a:stretch/>
        </p:blipFill>
        <p:spPr>
          <a:xfrm>
            <a:off x="7600257" y="23166"/>
            <a:ext cx="4516135" cy="2928300"/>
          </a:xfrm>
          <a:prstGeom prst="rect">
            <a:avLst/>
          </a:prstGeom>
        </p:spPr>
      </p:pic>
      <p:pic>
        <p:nvPicPr>
          <p:cNvPr id="5" name="Picture 4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1ED62F16-CF33-B488-95C9-BA8691514F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5" t="6216" r="8213"/>
          <a:stretch/>
        </p:blipFill>
        <p:spPr>
          <a:xfrm>
            <a:off x="7600257" y="3110556"/>
            <a:ext cx="4516135" cy="2928300"/>
          </a:xfrm>
          <a:prstGeom prst="rect">
            <a:avLst/>
          </a:prstGeom>
        </p:spPr>
      </p:pic>
      <p:pic>
        <p:nvPicPr>
          <p:cNvPr id="6" name="Picture 5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DFF83F41-8B6A-35B7-9634-6C0E3B26052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6216" r="5378"/>
          <a:stretch/>
        </p:blipFill>
        <p:spPr>
          <a:xfrm>
            <a:off x="2738089" y="3064478"/>
            <a:ext cx="4756500" cy="2974126"/>
          </a:xfrm>
          <a:prstGeom prst="rect">
            <a:avLst/>
          </a:prstGeom>
        </p:spPr>
      </p:pic>
      <p:pic>
        <p:nvPicPr>
          <p:cNvPr id="7" name="Picture 6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4A61A0DD-36C2-3676-C57A-41E3C96023D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" t="6216" r="7738"/>
          <a:stretch/>
        </p:blipFill>
        <p:spPr>
          <a:xfrm>
            <a:off x="2650602" y="0"/>
            <a:ext cx="4683211" cy="2928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632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89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CONCLUSION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So, What are Our Thoughts?</a:t>
            </a:r>
          </a:p>
        </p:txBody>
      </p:sp>
    </p:spTree>
    <p:extLst>
      <p:ext uri="{BB962C8B-B14F-4D97-AF65-F5344CB8AC3E}">
        <p14:creationId xmlns:p14="http://schemas.microsoft.com/office/powerpoint/2010/main" val="2217300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289367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275410" y="289367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25248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275410" y="325248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0873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07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THE Proces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Data and Process</a:t>
            </a:r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OpenWeatherMap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PI NINJAS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Kaggle: cause of death 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Kaggle air pollution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20444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1200329"/>
          </a:xfrm>
          <a:prstGeom prst="rect">
            <a:avLst/>
          </a:prstGeom>
          <a:solidFill>
            <a:srgbClr val="19304C"/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r>
              <a:rPr lang="en-US" dirty="0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nalyse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  <a:gs pos="41000">
              <a:schemeClr val="accent1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09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46764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rgbClr val="19304C"/>
                </a:solidFill>
              </a:rPr>
              <a:t>LET’S HAVE SOME FU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HYPOTHESES 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76C9E-E70B-3B84-258E-10F7BF6AE9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12185865" cy="350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74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14D16DA-0A31-C330-4336-FEBDD1865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5533" y="0"/>
            <a:ext cx="2626468" cy="6208016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FFAF11-C7CD-3F9D-DE8F-8AF7F38E1340}"/>
              </a:ext>
            </a:extLst>
          </p:cNvPr>
          <p:cNvGrpSpPr/>
          <p:nvPr/>
        </p:nvGrpSpPr>
        <p:grpSpPr>
          <a:xfrm>
            <a:off x="543966" y="161908"/>
            <a:ext cx="8477601" cy="6012873"/>
            <a:chOff x="0" y="1012002"/>
            <a:chExt cx="6474778" cy="45620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41D522-693E-CA73-8871-A0EE6F130391}"/>
                </a:ext>
              </a:extLst>
            </p:cNvPr>
            <p:cNvSpPr txBox="1"/>
            <p:nvPr/>
          </p:nvSpPr>
          <p:spPr>
            <a:xfrm>
              <a:off x="669725" y="1012002"/>
              <a:ext cx="5805053" cy="3211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Global Winter CO Pollution Levels in </a:t>
              </a:r>
              <a:r>
                <a:rPr lang="el-GR" sz="1400" dirty="0"/>
                <a:t>μ</a:t>
              </a:r>
              <a:r>
                <a:rPr lang="en-US" sz="1400" dirty="0"/>
                <a:t>g/m by Popul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FDCF08-FAF6-8CE7-4C4D-D1B67035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276139"/>
              <a:ext cx="6096000" cy="4297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60520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69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5506" y="1335855"/>
            <a:ext cx="5662866" cy="3814845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CB4F1DF-9322-086A-F10C-CBE03342523F}"/>
              </a:ext>
            </a:extLst>
          </p:cNvPr>
          <p:cNvGrpSpPr/>
          <p:nvPr/>
        </p:nvGrpSpPr>
        <p:grpSpPr>
          <a:xfrm>
            <a:off x="570269" y="1084544"/>
            <a:ext cx="4799390" cy="3662555"/>
            <a:chOff x="7126711" y="209054"/>
            <a:chExt cx="4799390" cy="366255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48A2289-5DC1-06C4-B246-A4C9B1CC5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26711" y="578386"/>
              <a:ext cx="4799061" cy="3293223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10839797" y="209054"/>
              <a:ext cx="1086304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dirty="0"/>
                <a:t>Ozone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4E79BAF-2272-420C-0326-707E8F6DE236}"/>
              </a:ext>
            </a:extLst>
          </p:cNvPr>
          <p:cNvSpPr/>
          <p:nvPr/>
        </p:nvSpPr>
        <p:spPr>
          <a:xfrm>
            <a:off x="6420255" y="3618689"/>
            <a:ext cx="525294" cy="888460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486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113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025" y="1411180"/>
            <a:ext cx="5662866" cy="381484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1E7F6B2-B832-2A30-386C-CF1DC7D13FF9}"/>
              </a:ext>
            </a:extLst>
          </p:cNvPr>
          <p:cNvGrpSpPr/>
          <p:nvPr/>
        </p:nvGrpSpPr>
        <p:grpSpPr>
          <a:xfrm>
            <a:off x="6448077" y="1330379"/>
            <a:ext cx="5277984" cy="3895646"/>
            <a:chOff x="5793082" y="1650117"/>
            <a:chExt cx="5277984" cy="389564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EF753B20-C86E-CB34-3FBD-82667212B0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000" b="74955"/>
            <a:stretch/>
          </p:blipFill>
          <p:spPr>
            <a:xfrm>
              <a:off x="5803490" y="1650117"/>
              <a:ext cx="5267576" cy="3526314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flipH="1">
              <a:off x="5793082" y="5176431"/>
              <a:ext cx="1808454" cy="369332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Nitrous Oxide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A1A611A-75B5-56AA-4B02-2E821AA94582}"/>
              </a:ext>
            </a:extLst>
          </p:cNvPr>
          <p:cNvSpPr/>
          <p:nvPr/>
        </p:nvSpPr>
        <p:spPr>
          <a:xfrm>
            <a:off x="5181600" y="1686128"/>
            <a:ext cx="525294" cy="2224391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77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5ODQyMTV9"/>
  <p:tag name="SLIDO_TYPE" val="SlidoPoll"/>
  <p:tag name="SLIDO_POLL_UUID" val="d465ec37-e7a4-4cd5-a87c-86138cc8cdcd"/>
  <p:tag name="SLIDO_TIMELINE" val="W3sicG9sbFF1ZXN0aW9uVXVpZCI6IjJjYmIyNDg3LTYzZTctNDQ3Ni04NTllLWI3NDcxZWYzZDI3NiIsInNob3dSZXN1bHRzIjpmYWxzZSwic2hvd0NvcnJlY3RBbnN3ZXJzIjpmYWxzZSwidm90aW5nTG9ja2VkIjpmYWxzZX0seyJwb2xsUXVlc3Rpb25VdWlkIjoiMmNiYjI0ODctNjNlNy00NDc2LTg1OWUtYjc0NzFlZjNkMjc2Iiwic2hvd1Jlc3VsdHMiOnRydWUsInNob3dDb3JyZWN0QW5zd2VycyI6ZmFsc2UsInZvdGluZ0xvY2tlZCI6ZmFsc2V9XQ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878</TotalTime>
  <Words>559</Words>
  <Application>Microsoft Macintosh PowerPoint</Application>
  <PresentationFormat>Widescreen</PresentationFormat>
  <Paragraphs>104</Paragraphs>
  <Slides>22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Fatema Girnary (23414099)</cp:lastModifiedBy>
  <cp:revision>23</cp:revision>
  <dcterms:created xsi:type="dcterms:W3CDTF">2024-05-04T04:26:45Z</dcterms:created>
  <dcterms:modified xsi:type="dcterms:W3CDTF">2024-05-06T11:2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